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  <p:sldId id="2333" r:id="rId3"/>
    <p:sldId id="2334" r:id="rId4"/>
  </p:sldIdLst>
  <p:sldSz cx="12192000" cy="6858000"/>
  <p:notesSz cx="6858000" cy="9144000"/>
  <p:custDataLst>
    <p:tags r:id="rId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91" d="100"/>
          <a:sy n="91" d="100"/>
        </p:scale>
        <p:origin x="149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713-410C-B85C-C3A51A497DEA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moravský kraj</c:v>
                </c:pt>
                <c:pt idx="1">
                  <c:v>Kraj Vysočina</c:v>
                </c:pt>
                <c:pt idx="2">
                  <c:v>Královéhradecký kraj</c:v>
                </c:pt>
                <c:pt idx="3">
                  <c:v>Středočeský kraj</c:v>
                </c:pt>
                <c:pt idx="4">
                  <c:v>Plzeňský kraj</c:v>
                </c:pt>
                <c:pt idx="5">
                  <c:v>Jihočeský kraj</c:v>
                </c:pt>
                <c:pt idx="6">
                  <c:v>Olomoucký kraj</c:v>
                </c:pt>
                <c:pt idx="7">
                  <c:v>Pardubický kraj</c:v>
                </c:pt>
                <c:pt idx="8">
                  <c:v>ČR</c:v>
                </c:pt>
                <c:pt idx="9">
                  <c:v>Zlínský kraj</c:v>
                </c:pt>
                <c:pt idx="10">
                  <c:v>Ústecký kraj</c:v>
                </c:pt>
                <c:pt idx="11">
                  <c:v>Liberecký kraj</c:v>
                </c:pt>
                <c:pt idx="12">
                  <c:v>Moravskoslezs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0930232558099997</c:v>
                </c:pt>
                <c:pt idx="1">
                  <c:v>0.46464646464600001</c:v>
                </c:pt>
                <c:pt idx="2">
                  <c:v>0.46086956521700001</c:v>
                </c:pt>
                <c:pt idx="3">
                  <c:v>0.45175438596400003</c:v>
                </c:pt>
                <c:pt idx="4">
                  <c:v>0.37944664031600001</c:v>
                </c:pt>
                <c:pt idx="5">
                  <c:v>0.36363636363599999</c:v>
                </c:pt>
                <c:pt idx="6">
                  <c:v>0.35449735449699998</c:v>
                </c:pt>
                <c:pt idx="7">
                  <c:v>0.35114503816699999</c:v>
                </c:pt>
                <c:pt idx="8">
                  <c:v>0.34333700440499998</c:v>
                </c:pt>
                <c:pt idx="9">
                  <c:v>0.32786885245899999</c:v>
                </c:pt>
                <c:pt idx="10">
                  <c:v>0.30337078651600002</c:v>
                </c:pt>
                <c:pt idx="11">
                  <c:v>0.29787234042499999</c:v>
                </c:pt>
                <c:pt idx="12">
                  <c:v>0.292397660818</c:v>
                </c:pt>
                <c:pt idx="13">
                  <c:v>0.23809523809499999</c:v>
                </c:pt>
                <c:pt idx="14">
                  <c:v>0.219543147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715-4B30-B76D-D9875D292FE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moravs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Královéhradecký kraj</c:v>
                </c:pt>
                <c:pt idx="5">
                  <c:v>Zlíns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Karlovarský kraj</c:v>
                </c:pt>
                <c:pt idx="10">
                  <c:v>Liberecký kraj</c:v>
                </c:pt>
                <c:pt idx="11">
                  <c:v>Plzeňský kraj</c:v>
                </c:pt>
                <c:pt idx="12">
                  <c:v>Ústecký kraj</c:v>
                </c:pt>
                <c:pt idx="13">
                  <c:v>Pardubi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3050847457</c:v>
                </c:pt>
                <c:pt idx="1">
                  <c:v>0.359375</c:v>
                </c:pt>
                <c:pt idx="2">
                  <c:v>0.33870967741899999</c:v>
                </c:pt>
                <c:pt idx="3">
                  <c:v>0.31730769230700001</c:v>
                </c:pt>
                <c:pt idx="4">
                  <c:v>0.27192982456100001</c:v>
                </c:pt>
                <c:pt idx="5">
                  <c:v>0.271739130434</c:v>
                </c:pt>
                <c:pt idx="6">
                  <c:v>0.26277372262699999</c:v>
                </c:pt>
                <c:pt idx="7">
                  <c:v>0.239002932551</c:v>
                </c:pt>
                <c:pt idx="8">
                  <c:v>0.22977346278300001</c:v>
                </c:pt>
                <c:pt idx="9">
                  <c:v>0.22727272727200001</c:v>
                </c:pt>
                <c:pt idx="10">
                  <c:v>0.22368421052599999</c:v>
                </c:pt>
                <c:pt idx="11">
                  <c:v>0.20805369127500001</c:v>
                </c:pt>
                <c:pt idx="12">
                  <c:v>0.19834710743799999</c:v>
                </c:pt>
                <c:pt idx="13">
                  <c:v>0.16129032258000001</c:v>
                </c:pt>
                <c:pt idx="14">
                  <c:v>9.0336134452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ECE-4C6B-9003-CB2A1AE735D6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moravský kraj</c:v>
                </c:pt>
                <c:pt idx="1">
                  <c:v>Plzeňský kraj</c:v>
                </c:pt>
                <c:pt idx="2">
                  <c:v>Kraj Vysočina</c:v>
                </c:pt>
                <c:pt idx="3">
                  <c:v>Ústecký kraj</c:v>
                </c:pt>
                <c:pt idx="4">
                  <c:v>Zlínský kraj</c:v>
                </c:pt>
                <c:pt idx="5">
                  <c:v>Jihočeský kraj</c:v>
                </c:pt>
                <c:pt idx="6">
                  <c:v>Pardubický kraj</c:v>
                </c:pt>
                <c:pt idx="7">
                  <c:v>ČR</c:v>
                </c:pt>
                <c:pt idx="8">
                  <c:v>Liberecký kraj</c:v>
                </c:pt>
                <c:pt idx="9">
                  <c:v>Olomoucký kraj</c:v>
                </c:pt>
                <c:pt idx="10">
                  <c:v>Moravskoslezský kraj</c:v>
                </c:pt>
                <c:pt idx="11">
                  <c:v>Královéhradecký kraj</c:v>
                </c:pt>
                <c:pt idx="12">
                  <c:v>Karlovarský kraj</c:v>
                </c:pt>
                <c:pt idx="13">
                  <c:v>Středoče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1493428912700001</c:v>
                </c:pt>
                <c:pt idx="1">
                  <c:v>0.50064020486500005</c:v>
                </c:pt>
                <c:pt idx="2">
                  <c:v>0.45313398504800001</c:v>
                </c:pt>
                <c:pt idx="3">
                  <c:v>0.45241477272699998</c:v>
                </c:pt>
                <c:pt idx="4">
                  <c:v>0.41509433962199999</c:v>
                </c:pt>
                <c:pt idx="5">
                  <c:v>0.39351285189700003</c:v>
                </c:pt>
                <c:pt idx="6">
                  <c:v>0.35995500562400001</c:v>
                </c:pt>
                <c:pt idx="7">
                  <c:v>0.354174981153</c:v>
                </c:pt>
                <c:pt idx="8">
                  <c:v>0.32718327183200002</c:v>
                </c:pt>
                <c:pt idx="9">
                  <c:v>0.32346723044300002</c:v>
                </c:pt>
                <c:pt idx="10">
                  <c:v>0.30063739376699999</c:v>
                </c:pt>
                <c:pt idx="11">
                  <c:v>0.25820256776</c:v>
                </c:pt>
                <c:pt idx="12">
                  <c:v>0.23923444976</c:v>
                </c:pt>
                <c:pt idx="13">
                  <c:v>0.23064687168600001</c:v>
                </c:pt>
                <c:pt idx="14">
                  <c:v>0.21589825119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118568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127908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5993302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</TotalTime>
  <Words>47</Words>
  <Application>Microsoft Office PowerPoint</Application>
  <PresentationFormat>Širokoúhlá obrazovka</PresentationFormat>
  <Paragraphs>6</Paragraphs>
  <Slides>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Žofka Jan Mgr. Ing.</cp:lastModifiedBy>
  <cp:revision>13</cp:revision>
  <dcterms:created xsi:type="dcterms:W3CDTF">2021-10-29T17:14:18Z</dcterms:created>
  <dcterms:modified xsi:type="dcterms:W3CDTF">2021-12-27T19:46:09Z</dcterms:modified>
</cp:coreProperties>
</file>